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7"/>
  </p:notesMasterIdLst>
  <p:handoutMasterIdLst>
    <p:handoutMasterId r:id="rId18"/>
  </p:handoutMasterIdLst>
  <p:sldIdLst>
    <p:sldId id="256" r:id="rId3"/>
    <p:sldId id="626" r:id="rId4"/>
    <p:sldId id="666" r:id="rId5"/>
    <p:sldId id="627" r:id="rId6"/>
    <p:sldId id="674" r:id="rId7"/>
    <p:sldId id="675" r:id="rId8"/>
    <p:sldId id="676" r:id="rId9"/>
    <p:sldId id="673" r:id="rId10"/>
    <p:sldId id="667" r:id="rId11"/>
    <p:sldId id="668" r:id="rId12"/>
    <p:sldId id="669" r:id="rId13"/>
    <p:sldId id="670" r:id="rId14"/>
    <p:sldId id="671" r:id="rId15"/>
    <p:sldId id="672" r:id="rId16"/>
  </p:sldIdLst>
  <p:sldSz cx="9144000" cy="6858000" type="screen4x3"/>
  <p:notesSz cx="7010400" cy="9296400"/>
  <p:custDataLst>
    <p:tags r:id="rId19"/>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65" autoAdjust="0"/>
    <p:restoredTop sz="90038" autoAdjust="0"/>
  </p:normalViewPr>
  <p:slideViewPr>
    <p:cSldViewPr snapToGrid="0" snapToObjects="1">
      <p:cViewPr>
        <p:scale>
          <a:sx n="100" d="100"/>
          <a:sy n="100" d="100"/>
        </p:scale>
        <p:origin x="-300" y="-72"/>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6/10/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8" name="5 CuadroTexto"/>
          <p:cNvSpPr txBox="1"/>
          <p:nvPr/>
        </p:nvSpPr>
        <p:spPr>
          <a:xfrm>
            <a:off x="239551" y="5974929"/>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Draft Version: 1</a:t>
            </a:r>
            <a:endParaRPr lang="en-US" sz="1400" dirty="0">
              <a:solidFill>
                <a:schemeClr val="bg1">
                  <a:lumMod val="50000"/>
                </a:schemeClr>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01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Eduardo Jimenez | Subdirector</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smtClean="0">
                <a:solidFill>
                  <a:srgbClr val="000000"/>
                </a:solidFill>
                <a:latin typeface="Arial" panose="020B0604020202020204" pitchFamily="34" charset="0"/>
                <a:ea typeface="+mn-ea"/>
                <a:cs typeface="Arial" panose="020B0604020202020204" pitchFamily="34" charset="0"/>
              </a:rPr>
              <a:t>Cards</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May 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2285331789"/>
              </p:ext>
            </p:extLst>
          </p:nvPr>
        </p:nvGraphicFramePr>
        <p:xfrm>
          <a:off x="394470" y="954872"/>
          <a:ext cx="8369520" cy="5240288"/>
        </p:xfrm>
        <a:graphic>
          <a:graphicData uri="http://schemas.openxmlformats.org/drawingml/2006/table">
            <a:tbl>
              <a:tblPr firstRow="1" bandRow="1"/>
              <a:tblGrid>
                <a:gridCol w="2758305"/>
                <a:gridCol w="5611215"/>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822960">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in the P19 any products/customer groups that are expected to require a variation and/or expansion of current risk appetite and policy</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0" i="1" u="none" strike="noStrike" dirty="0" smtClean="0">
                          <a:solidFill>
                            <a:srgbClr val="000000"/>
                          </a:solidFill>
                          <a:effectLst/>
                          <a:latin typeface="+mn-lt"/>
                        </a:rPr>
                        <a:t>YES, the Secure Card is a product that</a:t>
                      </a:r>
                      <a:r>
                        <a:rPr lang="en-US" sz="1100" b="0" i="1" u="none" strike="noStrike" baseline="0" dirty="0" smtClean="0">
                          <a:solidFill>
                            <a:srgbClr val="000000"/>
                          </a:solidFill>
                          <a:effectLst/>
                          <a:latin typeface="+mn-lt"/>
                        </a:rPr>
                        <a:t> would be offered to prospects who would not currently qualify for a credit card, hence, risk criteria would need to be modify, nevertheless, there is no incremental credit risk associated with this product as the offered limit would be guaranteed and conditioned to a time deposit.  This product will be presented at the New Products Committee in order to be evaluated by all areas a identify and mitigate any possible risks.</a:t>
                      </a:r>
                      <a:endParaRPr lang="en-US" sz="1100" b="0" i="1" u="none" strike="noStrike" kern="1200" dirty="0" smtClean="0">
                        <a:solidFill>
                          <a:srgbClr val="000000"/>
                        </a:solidFill>
                        <a:effectLst/>
                        <a:latin typeface="Calibri"/>
                        <a:ea typeface="+mn-ea"/>
                        <a:cs typeface="+mn-cs"/>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96230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re any expectation of an increase in volumes and/or composition of referrals to underwriting for manual decision (e.g., increase in exception treatments for higher net worth customers, increased complex cases or proportional growth/ penetration in segments requiring verification</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The launch</a:t>
                      </a:r>
                      <a:r>
                        <a:rPr lang="en-US" sz="1100" b="0" i="1" u="none" strike="noStrike" kern="1200" baseline="0" dirty="0" smtClean="0">
                          <a:solidFill>
                            <a:srgbClr val="000000"/>
                          </a:solidFill>
                          <a:effectLst/>
                          <a:latin typeface="Calibri"/>
                          <a:ea typeface="+mn-ea"/>
                          <a:cs typeface="+mn-cs"/>
                        </a:rPr>
                        <a:t> of new products (ARMANI &amp; Secure Card) will have an impact on applications, increasing the number of cases referred to underwriting.  The increase is cases is due to an increased number of applications (volume), but maintaining the same proportion of manual decisions.  Application projections have been shared with Risk in order to guarantee appropriate capacity.</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40080">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that would affect current risk </a:t>
                      </a:r>
                      <a:r>
                        <a:rPr lang="en-US" sz="1100" b="0" i="0" u="none" strike="noStrike" kern="1200" dirty="0" err="1">
                          <a:solidFill>
                            <a:srgbClr val="000000"/>
                          </a:solidFill>
                          <a:effectLst/>
                          <a:latin typeface="Calibri"/>
                          <a:ea typeface="+mn-ea"/>
                          <a:cs typeface="+mn-cs"/>
                        </a:rPr>
                        <a:t>decisioning</a:t>
                      </a:r>
                      <a:r>
                        <a:rPr lang="en-US" sz="1100" b="0" i="0" u="none" strike="noStrike" kern="1200" dirty="0">
                          <a:solidFill>
                            <a:srgbClr val="000000"/>
                          </a:solidFill>
                          <a:effectLst/>
                          <a:latin typeface="Calibri"/>
                          <a:ea typeface="+mn-ea"/>
                          <a:cs typeface="+mn-cs"/>
                        </a:rPr>
                        <a:t> processes and/or policies for new business or portfolio management</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o.</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Is the overall product plan expected to result in an increase in the credit risk profile of the portfolio for the product area</a:t>
                      </a:r>
                      <a:r>
                        <a:rPr lang="en-US" sz="1100" b="0" i="0" u="none" strike="noStrike" kern="1200" dirty="0" smtClean="0">
                          <a:solidFill>
                            <a:srgbClr val="000000"/>
                          </a:solidFill>
                          <a:effectLst/>
                          <a:latin typeface="Calibri"/>
                          <a:ea typeface="+mn-ea"/>
                          <a:cs typeface="+mn-cs"/>
                        </a:rPr>
                        <a:t>?</a:t>
                      </a:r>
                    </a:p>
                    <a:p>
                      <a:pPr marL="0" algn="l" defTabSz="457200" rtl="0" eaLnBrk="1" fontAlgn="ctr" latinLnBrk="0" hangingPunct="1"/>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o.</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0278531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1717576553"/>
              </p:ext>
            </p:extLst>
          </p:nvPr>
        </p:nvGraphicFramePr>
        <p:xfrm>
          <a:off x="394470" y="954872"/>
          <a:ext cx="8369520" cy="5318544"/>
        </p:xfrm>
        <a:graphic>
          <a:graphicData uri="http://schemas.openxmlformats.org/drawingml/2006/table">
            <a:tbl>
              <a:tblPr firstRow="1" bandRow="1"/>
              <a:tblGrid>
                <a:gridCol w="2739255"/>
                <a:gridCol w="5630265"/>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822960">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Profil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a:solidFill>
                            <a:srgbClr val="000000"/>
                          </a:solidFill>
                          <a:effectLst/>
                          <a:latin typeface="Calibri"/>
                          <a:ea typeface="+mn-ea"/>
                          <a:cs typeface="+mn-cs"/>
                        </a:rPr>
                        <a:t>Are there any changes planned to retention activity that would affect the credit risk profile of the book? Are the P19 income forecasts reliant on maintaining existing business/ renewal? What percentage of maturing facilities are forecast to be retained/ renewed? </a:t>
                      </a:r>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endParaRPr lang="en-US" sz="1100" b="0" i="0" u="none" strike="noStrike" kern="1200" dirty="0" smtClean="0">
                        <a:solidFill>
                          <a:srgbClr val="000000"/>
                        </a:solidFill>
                        <a:effectLst/>
                        <a:latin typeface="Calibri"/>
                        <a:ea typeface="+mn-ea"/>
                        <a:cs typeface="+mn-cs"/>
                      </a:endParaRPr>
                    </a:p>
                    <a:p>
                      <a:pPr marL="0" algn="l" defTabSz="457200" rtl="0" eaLnBrk="1" fontAlgn="ctr" latinLnBrk="0" hangingPunct="1"/>
                      <a:r>
                        <a:rPr lang="en-US" sz="1100" b="0" i="1" u="none" strike="noStrike" kern="1200" dirty="0" smtClean="0">
                          <a:solidFill>
                            <a:srgbClr val="000000"/>
                          </a:solidFill>
                          <a:effectLst/>
                          <a:latin typeface="Calibri"/>
                          <a:ea typeface="+mn-ea"/>
                          <a:cs typeface="+mn-cs"/>
                        </a:rPr>
                        <a:t>No.</a:t>
                      </a:r>
                      <a:endParaRPr lang="en-US" sz="1100" b="0" i="1"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822960">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are the implications for market share %’s of new business to achieve asset/ new business forecasts? What does overall market share move to against forecasts? How does that compare to current market share</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Current market</a:t>
                      </a:r>
                      <a:r>
                        <a:rPr lang="en-US" sz="1100" b="0" i="1" u="none" strike="noStrike" baseline="0" dirty="0" smtClean="0">
                          <a:solidFill>
                            <a:srgbClr val="000000"/>
                          </a:solidFill>
                          <a:effectLst/>
                          <a:latin typeface="Calibri"/>
                        </a:rPr>
                        <a:t> share is  13.3%.  No significant shifts are expected.</a:t>
                      </a:r>
                      <a:r>
                        <a:rPr lang="en-US" sz="1100" b="0" i="0" u="none" strike="noStrike" baseline="0" dirty="0" smtClean="0">
                          <a:solidFill>
                            <a:srgbClr val="000000"/>
                          </a:solidFill>
                          <a:effectLst/>
                          <a:latin typeface="Calibri"/>
                        </a:rPr>
                        <a:t>  </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457200">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any changes anticipated to how interest and/ or fees are charged for lending facilities</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processes and systems or significant change initiatives that could increase Operational Risk profile</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Both</a:t>
                      </a:r>
                      <a:r>
                        <a:rPr lang="en-US" sz="1100" b="0" i="1" u="none" strike="noStrike" baseline="0" dirty="0" smtClean="0">
                          <a:solidFill>
                            <a:srgbClr val="000000"/>
                          </a:solidFill>
                          <a:effectLst/>
                          <a:latin typeface="Calibri"/>
                        </a:rPr>
                        <a:t> CHIP, DIGITAL WALLETS and 3D SECURE include changes and modifications to the way transactions are processed for cards.  This changes could represent an increase in Operational Risk, but the adequate testing plan, validations and controls will be performed and implemented in order to ensure proper functioning.</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97280">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products, segmentation focus, marketing, et al. that could impact Reputation (positively or negatively</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The ARMANI Card is a co-brande</a:t>
                      </a:r>
                      <a:r>
                        <a:rPr lang="en-US" sz="1100" b="0" i="1" u="none" strike="noStrike" baseline="0" dirty="0" smtClean="0">
                          <a:solidFill>
                            <a:srgbClr val="000000"/>
                          </a:solidFill>
                          <a:effectLst/>
                          <a:latin typeface="+mn-lt"/>
                        </a:rPr>
                        <a:t>d credit card with a retailer. By definition, this will require a new partnership which may have a reputational impact.  The partner  will be evaluated by the corresponding areas including Vendor Management and the New Products Committee to minimize any possible reputational risk.</a:t>
                      </a:r>
                      <a:endParaRPr lang="en-US" sz="1100" b="0" i="0" u="none" strike="noStrike" dirty="0" smtClean="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328070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1062325053"/>
              </p:ext>
            </p:extLst>
          </p:nvPr>
        </p:nvGraphicFramePr>
        <p:xfrm>
          <a:off x="394470" y="954872"/>
          <a:ext cx="8369520" cy="4524008"/>
        </p:xfrm>
        <a:graphic>
          <a:graphicData uri="http://schemas.openxmlformats.org/drawingml/2006/table">
            <a:tbl>
              <a:tblPr firstRow="1" bandRow="1"/>
              <a:tblGrid>
                <a:gridCol w="2739255"/>
                <a:gridCol w="5630265"/>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expectations for changes to systems, distribution channels, geographic dispersion, infrastructure investments, human capital that are assumed in plans</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Yes. Due to 2016 branch</a:t>
                      </a:r>
                      <a:r>
                        <a:rPr lang="en-US" sz="1100" b="0" i="1" u="none" strike="noStrike" baseline="0" dirty="0" smtClean="0">
                          <a:solidFill>
                            <a:srgbClr val="000000"/>
                          </a:solidFill>
                          <a:effectLst/>
                          <a:latin typeface="Calibri"/>
                        </a:rPr>
                        <a:t> </a:t>
                      </a:r>
                      <a:r>
                        <a:rPr lang="en-US" sz="1100" b="0" i="1" u="none" strike="noStrike" dirty="0" smtClean="0">
                          <a:solidFill>
                            <a:srgbClr val="000000"/>
                          </a:solidFill>
                          <a:effectLst/>
                          <a:latin typeface="Calibri"/>
                        </a:rPr>
                        <a:t>consolidations, P19 considers</a:t>
                      </a:r>
                      <a:r>
                        <a:rPr lang="en-US" sz="1100" b="0" i="1" u="none" strike="noStrike" baseline="0" dirty="0" smtClean="0">
                          <a:solidFill>
                            <a:srgbClr val="000000"/>
                          </a:solidFill>
                          <a:effectLst/>
                          <a:latin typeface="Calibri"/>
                        </a:rPr>
                        <a:t> less number of credit card accounts being acquired through branches.  In order to compensate, additional Outbound Telemarketing resources will be required, resulting in a higher number of accounts being acquired through this channel.</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40080">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in the product offering or mix that could affect consumer compliance</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are the expected regulatory capital implications of the business plan? Any anticipated liquidity impacts</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mn-lt"/>
                        </a:rPr>
                        <a:t>No.</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Is the P19 predicated on changes to the current mix of asset classes, product mix or market activities? Does it consider entering new asset classes or market activities? Any expected impacts to risk appetite limits or sub limits</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mn-lt"/>
                        </a:rPr>
                        <a:t>YES, the Secure Card is a product that</a:t>
                      </a:r>
                      <a:r>
                        <a:rPr lang="en-US" sz="1100" b="0" i="1" u="none" strike="noStrike" baseline="0" dirty="0" smtClean="0">
                          <a:solidFill>
                            <a:srgbClr val="000000"/>
                          </a:solidFill>
                          <a:effectLst/>
                          <a:latin typeface="+mn-lt"/>
                        </a:rPr>
                        <a:t> would be offered to prospects who would not currently qualify for a credit card, changing the mix of asset classes.  Nevertheless, there is no incremental credit risk associated with this product as the offered limit would be guaranteed and conditioned to a time deposit.</a:t>
                      </a:r>
                      <a:endParaRPr lang="en-US" sz="1100" b="0" i="1" u="none" strike="noStrike" dirty="0">
                        <a:solidFill>
                          <a:srgbClr val="000000"/>
                        </a:solidFill>
                        <a:effectLst/>
                        <a:latin typeface="+mn-lt"/>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3350929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1786890951"/>
              </p:ext>
            </p:extLst>
          </p:nvPr>
        </p:nvGraphicFramePr>
        <p:xfrm>
          <a:off x="394470" y="954872"/>
          <a:ext cx="8369520" cy="4489567"/>
        </p:xfrm>
        <a:graphic>
          <a:graphicData uri="http://schemas.openxmlformats.org/drawingml/2006/table">
            <a:tbl>
              <a:tblPr firstRow="1" bandRow="1"/>
              <a:tblGrid>
                <a:gridCol w="2739255"/>
                <a:gridCol w="5630265"/>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asset forecast modify the current equilibrium between risk and profitability, and consider the observed sensitivities of the portfolios (different asset classes have different sensitivity to stressed scenarios and growing one asset class over another could push an entity outside of its risk appetite</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Calibri"/>
                        </a:rPr>
                        <a:t>No</a:t>
                      </a:r>
                      <a:r>
                        <a:rPr lang="en-US" sz="1100" b="0" i="1" u="none" strike="noStrike" dirty="0" smtClean="0">
                          <a:solidFill>
                            <a:srgbClr val="000000"/>
                          </a:solidFill>
                          <a:effectLst/>
                          <a:latin typeface="+mn-lt"/>
                        </a:rPr>
                        <a:t>, the Secure Card could have this effect because</a:t>
                      </a:r>
                      <a:r>
                        <a:rPr lang="en-US" sz="1100" b="0" i="1" u="none" strike="noStrike" baseline="0" dirty="0" smtClean="0">
                          <a:solidFill>
                            <a:srgbClr val="000000"/>
                          </a:solidFill>
                          <a:effectLst/>
                          <a:latin typeface="+mn-lt"/>
                        </a:rPr>
                        <a:t> it will be offered to prospects who would not currently qualify for a credit card, changing the mix of asset classes, but there is no change in the current equilibrium as the offered limit would be guaranteed and conditioned to a time deposit, not affecting the risk nor profitability.</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40080">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material shifts in pricing strategy assumed in P19 that would materially impact the volume, capture rate and provisions</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 P19 asset forecasts reliant on changes to the segmentation of the lines of business? If so to what extend? </a:t>
                      </a:r>
                      <a:endParaRPr lang="en-US" sz="1100" b="0" i="0" u="none" strike="noStrike" dirty="0" smtClean="0">
                        <a:solidFill>
                          <a:srgbClr val="000000"/>
                        </a:solidFill>
                        <a:effectLst/>
                        <a:latin typeface="Calibri"/>
                      </a:endParaRP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What is the target loan book by sector and what are the priority growth sectors</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Priority is to target</a:t>
                      </a:r>
                      <a:r>
                        <a:rPr lang="en-US" sz="1100" b="0" i="1" u="none" strike="noStrike" baseline="0" dirty="0" smtClean="0">
                          <a:solidFill>
                            <a:srgbClr val="000000"/>
                          </a:solidFill>
                          <a:effectLst/>
                          <a:latin typeface="Calibri"/>
                        </a:rPr>
                        <a:t> from medium to high income prospects.</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5384468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86951131"/>
              </p:ext>
            </p:extLst>
          </p:nvPr>
        </p:nvGraphicFramePr>
        <p:xfrm>
          <a:off x="394470" y="954872"/>
          <a:ext cx="8369520" cy="4028557"/>
        </p:xfrm>
        <a:graphic>
          <a:graphicData uri="http://schemas.openxmlformats.org/drawingml/2006/table">
            <a:tbl>
              <a:tblPr firstRow="1" bandRow="1"/>
              <a:tblGrid>
                <a:gridCol w="2739255"/>
                <a:gridCol w="5630265"/>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40080">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Have the risks associated to not executing a asset sale plan as expected in P19 been considered? </a:t>
                      </a:r>
                      <a:endParaRPr lang="en-US" sz="1100" b="0" i="0" u="none" strike="noStrike" dirty="0" smtClean="0">
                        <a:solidFill>
                          <a:srgbClr val="000000"/>
                        </a:solidFill>
                        <a:effectLst/>
                        <a:latin typeface="Calibri"/>
                      </a:endParaRP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097280">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How is residual risk on the current and future lease book captured in the P19 and how will this impact the RAS? Does the P19 include the potential impact of a drop in used car prices compared to expectations (both in the form of accelerated depreciation and potential impairment) and specific assumptions on SCUSA's remarketing ability in leasing terminations? </a:t>
                      </a:r>
                      <a:endParaRPr lang="en-US" sz="1100" b="0" i="0" u="none" strike="noStrike" dirty="0" smtClean="0">
                        <a:solidFill>
                          <a:srgbClr val="000000"/>
                        </a:solidFill>
                        <a:effectLst/>
                        <a:latin typeface="Calibri"/>
                      </a:endParaRP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A.</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P18 assume material changes to current key assumptions of the provisioning model (months coverage and recovery rate)? </a:t>
                      </a:r>
                      <a:endParaRPr lang="en-US" sz="1100" b="0" i="0" u="none" strike="noStrike" dirty="0" smtClean="0">
                        <a:solidFill>
                          <a:srgbClr val="000000"/>
                        </a:solidFill>
                        <a:effectLst/>
                        <a:latin typeface="Calibri"/>
                      </a:endParaRP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ny expected trends by core markets/ asset class that influence of the P19 income forecasts? What is the expected evolution of the sector (bubble burst, stagnant, new peak</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  Sector is expected</a:t>
                      </a:r>
                      <a:r>
                        <a:rPr lang="en-US" sz="1100" b="0" i="1" u="none" strike="noStrike" baseline="0" dirty="0" smtClean="0">
                          <a:solidFill>
                            <a:srgbClr val="000000"/>
                          </a:solidFill>
                          <a:effectLst/>
                          <a:latin typeface="Calibri"/>
                        </a:rPr>
                        <a:t> to remain stagnant.</a:t>
                      </a:r>
                      <a:endParaRPr lang="en-US" sz="1100" b="0" i="1"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325090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Cards strategic plan </a:t>
            </a:r>
            <a:endParaRPr lang="en-US" dirty="0"/>
          </a:p>
        </p:txBody>
      </p:sp>
      <p:sp>
        <p:nvSpPr>
          <p:cNvPr id="5" name="Rectangle 4"/>
          <p:cNvSpPr/>
          <p:nvPr/>
        </p:nvSpPr>
        <p:spPr>
          <a:xfrm>
            <a:off x="457200" y="1370826"/>
            <a:ext cx="1545771" cy="19202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Consumer Lending Growth</a:t>
            </a:r>
            <a:endParaRPr lang="en-US" sz="1800" b="1" dirty="0">
              <a:solidFill>
                <a:prstClr val="white"/>
              </a:solidFill>
            </a:endParaRPr>
          </a:p>
        </p:txBody>
      </p:sp>
      <p:sp>
        <p:nvSpPr>
          <p:cNvPr id="6" name="Rectangle 5"/>
          <p:cNvSpPr/>
          <p:nvPr/>
        </p:nvSpPr>
        <p:spPr>
          <a:xfrm>
            <a:off x="457200" y="3399831"/>
            <a:ext cx="1545771" cy="20116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Fraud Reduction</a:t>
            </a:r>
            <a:endParaRPr lang="en-US" sz="1800" b="1" dirty="0">
              <a:solidFill>
                <a:prstClr val="white"/>
              </a:solidFill>
            </a:endParaRPr>
          </a:p>
        </p:txBody>
      </p:sp>
      <p:sp>
        <p:nvSpPr>
          <p:cNvPr id="7" name="Rectangle 6"/>
          <p:cNvSpPr/>
          <p:nvPr/>
        </p:nvSpPr>
        <p:spPr>
          <a:xfrm>
            <a:off x="457200" y="5520278"/>
            <a:ext cx="1545771" cy="10058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Innovation</a:t>
            </a:r>
            <a:endParaRPr lang="en-US" sz="18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5" y="1370826"/>
            <a:ext cx="2934864" cy="192024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Diversify product offering and value proposition</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Develop benefits  and products highly valued by cardholder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Maintain partnerships with important business allies.</a:t>
            </a:r>
          </a:p>
        </p:txBody>
      </p:sp>
      <p:sp>
        <p:nvSpPr>
          <p:cNvPr id="14" name="Rectangle 13"/>
          <p:cNvSpPr/>
          <p:nvPr/>
        </p:nvSpPr>
        <p:spPr>
          <a:xfrm>
            <a:off x="5551715" y="1370825"/>
            <a:ext cx="3080346" cy="192024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ARMANI: launch of a co-branded credit card with an attractive retail commercial ally (partnership).</a:t>
            </a:r>
            <a:endParaRPr lang="en-US" sz="1200" b="1" dirty="0">
              <a:solidFill>
                <a:schemeClr val="tx1"/>
              </a:solidFill>
            </a:endParaRPr>
          </a:p>
          <a:p>
            <a:pPr marL="228600" indent="-228600">
              <a:spcAft>
                <a:spcPts val="600"/>
              </a:spcAft>
              <a:buFont typeface="+mj-lt"/>
              <a:buAutoNum type="arabicPeriod"/>
            </a:pPr>
            <a:r>
              <a:rPr lang="en-US" sz="1200" b="1" dirty="0" smtClean="0">
                <a:solidFill>
                  <a:schemeClr val="tx1"/>
                </a:solidFill>
              </a:rPr>
              <a:t>SECURE CARD: Development of a process to tie a time deposit (CD) to a credit card as a guarantee of </a:t>
            </a:r>
            <a:r>
              <a:rPr lang="en-US" sz="1200" b="1" dirty="0">
                <a:solidFill>
                  <a:schemeClr val="tx1"/>
                </a:solidFill>
              </a:rPr>
              <a:t>t</a:t>
            </a:r>
            <a:r>
              <a:rPr lang="en-US" sz="1200" b="1" dirty="0" smtClean="0">
                <a:solidFill>
                  <a:schemeClr val="tx1"/>
                </a:solidFill>
              </a:rPr>
              <a:t>he approved credit limit.</a:t>
            </a:r>
          </a:p>
          <a:p>
            <a:pPr marL="228600" indent="-228600">
              <a:spcAft>
                <a:spcPts val="600"/>
              </a:spcAft>
              <a:buFont typeface="+mj-lt"/>
              <a:buAutoNum type="arabicPeriod"/>
            </a:pPr>
            <a:r>
              <a:rPr lang="en-US" sz="1200" b="1" dirty="0" smtClean="0">
                <a:solidFill>
                  <a:schemeClr val="tx1"/>
                </a:solidFill>
              </a:rPr>
              <a:t>JETBLUE CONTRACT: Negotiate extension.</a:t>
            </a:r>
            <a:endParaRPr lang="en-US" sz="1200" b="1" dirty="0">
              <a:solidFill>
                <a:schemeClr val="tx1"/>
              </a:solidFill>
            </a:endParaRPr>
          </a:p>
        </p:txBody>
      </p:sp>
      <p:sp>
        <p:nvSpPr>
          <p:cNvPr id="15" name="Rectangle 14"/>
          <p:cNvSpPr/>
          <p:nvPr/>
        </p:nvSpPr>
        <p:spPr>
          <a:xfrm>
            <a:off x="2275115" y="3399831"/>
            <a:ext cx="2934864" cy="201168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lementation of increased security features for credit and debit card transactions:</a:t>
            </a:r>
          </a:p>
          <a:p>
            <a:pPr marL="628650" lvl="1"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Card present (POS)</a:t>
            </a:r>
          </a:p>
          <a:p>
            <a:pPr marL="628650" lvl="1"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Online (Internet)</a:t>
            </a:r>
            <a:endParaRPr lang="en-US" sz="1200" b="1" dirty="0">
              <a:solidFill>
                <a:srgbClr val="000000"/>
              </a:solidFill>
            </a:endParaRPr>
          </a:p>
        </p:txBody>
      </p:sp>
      <p:sp>
        <p:nvSpPr>
          <p:cNvPr id="16" name="Rectangle 15"/>
          <p:cNvSpPr/>
          <p:nvPr/>
        </p:nvSpPr>
        <p:spPr>
          <a:xfrm>
            <a:off x="5551715" y="3399831"/>
            <a:ext cx="3080346" cy="201168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CHIP DEBIT: development of EMV debit cards, a technical standard for smart payment cards which store their data on integrated circuits.</a:t>
            </a:r>
            <a:endParaRPr lang="en-US" sz="1200" b="1" dirty="0">
              <a:solidFill>
                <a:schemeClr val="tx1"/>
              </a:solidFill>
            </a:endParaRPr>
          </a:p>
          <a:p>
            <a:pPr marL="228600" indent="-228600">
              <a:spcAft>
                <a:spcPts val="600"/>
              </a:spcAft>
              <a:buFont typeface="+mj-lt"/>
              <a:buAutoNum type="arabicPeriod"/>
            </a:pPr>
            <a:r>
              <a:rPr lang="en-US" sz="1200" b="1" dirty="0" smtClean="0">
                <a:solidFill>
                  <a:schemeClr val="tx1"/>
                </a:solidFill>
              </a:rPr>
              <a:t>3D SECURE: protocol designed to be an additional security layer for online credit and debit transactions, tying the financial authorization process with an online authentication.</a:t>
            </a:r>
            <a:endParaRPr lang="en-US" sz="1200" b="1" dirty="0">
              <a:solidFill>
                <a:schemeClr val="tx1"/>
              </a:solidFill>
            </a:endParaRPr>
          </a:p>
        </p:txBody>
      </p:sp>
      <p:sp>
        <p:nvSpPr>
          <p:cNvPr id="17" name="Rectangle 16"/>
          <p:cNvSpPr/>
          <p:nvPr/>
        </p:nvSpPr>
        <p:spPr>
          <a:xfrm>
            <a:off x="2275115" y="5520278"/>
            <a:ext cx="2934864" cy="100584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Modernization of products and functionalities that will increase cardholder engagement, satisfaction and loyalty</a:t>
            </a:r>
            <a:endParaRPr lang="en-US" sz="1200" b="1" dirty="0">
              <a:solidFill>
                <a:srgbClr val="000000"/>
              </a:solidFill>
            </a:endParaRPr>
          </a:p>
        </p:txBody>
      </p:sp>
      <p:sp>
        <p:nvSpPr>
          <p:cNvPr id="18" name="Rectangle 17"/>
          <p:cNvSpPr/>
          <p:nvPr/>
        </p:nvSpPr>
        <p:spPr>
          <a:xfrm>
            <a:off x="5551715" y="5520278"/>
            <a:ext cx="3080346" cy="100584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DIGITAL WALLET: card data is stored in an electronic device and protected via tokenization, replacing credit card numbers and information with a random value.</a:t>
            </a: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4288461550"/>
              </p:ext>
            </p:extLst>
          </p:nvPr>
        </p:nvGraphicFramePr>
        <p:xfrm>
          <a:off x="394470" y="954872"/>
          <a:ext cx="8369520" cy="3931920"/>
        </p:xfrm>
        <a:graphic>
          <a:graphicData uri="http://schemas.openxmlformats.org/drawingml/2006/table">
            <a:tbl>
              <a:tblPr firstRow="1" bandRow="1"/>
              <a:tblGrid>
                <a:gridCol w="2075248"/>
                <a:gridCol w="3244217"/>
                <a:gridCol w="3050055"/>
              </a:tblGrid>
              <a:tr h="54864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gridSpan="3">
                  <a:txBody>
                    <a:bodyPr/>
                    <a:lstStyle/>
                    <a:p>
                      <a:r>
                        <a:rPr lang="en-US" sz="1200" b="1" dirty="0" smtClean="0"/>
                        <a:t>Priority:</a:t>
                      </a:r>
                      <a:r>
                        <a:rPr lang="en-US" sz="1200" b="1" baseline="0" dirty="0" smtClean="0"/>
                        <a:t> Consumer Lending Growth</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51586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ARMANI</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Increase </a:t>
                      </a:r>
                      <a:r>
                        <a:rPr lang="en-US" sz="1200" dirty="0" smtClean="0">
                          <a:solidFill>
                            <a:schemeClr val="tx1"/>
                          </a:solidFill>
                        </a:rPr>
                        <a:t>new customer acquisitions (11k)</a:t>
                      </a:r>
                    </a:p>
                    <a:p>
                      <a:pPr marL="171450" indent="-171450">
                        <a:buFont typeface="Arial" panose="020B0604020202020204" pitchFamily="34" charset="0"/>
                        <a:buChar char="•"/>
                      </a:pPr>
                      <a:r>
                        <a:rPr lang="en-US" sz="1200" dirty="0" smtClean="0">
                          <a:solidFill>
                            <a:schemeClr val="tx1"/>
                          </a:solidFill>
                        </a:rPr>
                        <a:t>Increase cardholder engagement</a:t>
                      </a:r>
                    </a:p>
                    <a:p>
                      <a:pPr marL="171450" indent="-171450">
                        <a:buFont typeface="Arial" panose="020B0604020202020204" pitchFamily="34" charset="0"/>
                        <a:buChar char="•"/>
                      </a:pPr>
                      <a:r>
                        <a:rPr lang="en-US" sz="1200" dirty="0" smtClean="0">
                          <a:solidFill>
                            <a:schemeClr val="tx1"/>
                          </a:solidFill>
                        </a:rPr>
                        <a:t>Net Interest Income ($3.77MM)</a:t>
                      </a:r>
                    </a:p>
                    <a:p>
                      <a:pPr marL="171450" indent="-171450">
                        <a:buFont typeface="Arial" panose="020B0604020202020204" pitchFamily="34" charset="0"/>
                        <a:buChar char="•"/>
                      </a:pPr>
                      <a:r>
                        <a:rPr lang="en-US" sz="1200" dirty="0" smtClean="0">
                          <a:solidFill>
                            <a:schemeClr val="tx1"/>
                          </a:solidFill>
                        </a:rPr>
                        <a:t>Commissions ($0.43MM)</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This is a co-branded credit card with a retailer.  By definition, this will require a new partnership which will be evaluated by the corresponding areas including Vendor Management and the New Products Committee to minimize any possible reputational risk.</a:t>
                      </a:r>
                    </a:p>
                    <a:p>
                      <a:pPr marL="171450" indent="-171450">
                        <a:buFont typeface="Arial" panose="020B0604020202020204" pitchFamily="34" charset="0"/>
                        <a:buChar char="•"/>
                      </a:pPr>
                      <a:r>
                        <a:rPr lang="en-US" sz="1200" dirty="0" smtClean="0">
                          <a:solidFill>
                            <a:schemeClr val="tx1"/>
                          </a:solidFill>
                        </a:rPr>
                        <a:t>Impact on applications, increasing the number of cases referred to underwriting.  The increase is cases is due to an increased number of applications (volume), but maintaining the same proportion of manual decisions.  Application projections have been shared with Risk in order to guarantee appropriate capacity.</a:t>
                      </a: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54678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433423107"/>
              </p:ext>
            </p:extLst>
          </p:nvPr>
        </p:nvGraphicFramePr>
        <p:xfrm>
          <a:off x="394470" y="954872"/>
          <a:ext cx="8369520" cy="5029200"/>
        </p:xfrm>
        <a:graphic>
          <a:graphicData uri="http://schemas.openxmlformats.org/drawingml/2006/table">
            <a:tbl>
              <a:tblPr firstRow="1" bandRow="1"/>
              <a:tblGrid>
                <a:gridCol w="2075248"/>
                <a:gridCol w="3244217"/>
                <a:gridCol w="3050055"/>
              </a:tblGrid>
              <a:tr h="54864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gridSpan="3">
                  <a:txBody>
                    <a:bodyPr/>
                    <a:lstStyle/>
                    <a:p>
                      <a:r>
                        <a:rPr lang="en-US" sz="1200" b="1" dirty="0" smtClean="0"/>
                        <a:t>Priority:</a:t>
                      </a:r>
                      <a:r>
                        <a:rPr lang="en-US" sz="1200" b="1" baseline="0" dirty="0" smtClean="0"/>
                        <a:t> Consumer Lending Growth</a:t>
                      </a:r>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66040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SECURE CARD</a:t>
                      </a:r>
                      <a:endParaRPr lang="en-US" sz="1200" dirty="0"/>
                    </a:p>
                  </a:txBody>
                  <a:tcPr anchor="ctr">
                    <a:lnL w="12700" cmpd="sng">
                      <a:noFill/>
                    </a:lnL>
                    <a:lnR w="12700" cmpd="sng">
                      <a:noFill/>
                    </a:lnR>
                    <a:lnT w="9525" cap="flat" cmpd="sng" algn="ctr">
                      <a:no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Acquire new </a:t>
                      </a:r>
                      <a:r>
                        <a:rPr lang="en-US" sz="1200" dirty="0" smtClean="0">
                          <a:solidFill>
                            <a:schemeClr val="tx1"/>
                          </a:solidFill>
                        </a:rPr>
                        <a:t>customers (4k)</a:t>
                      </a:r>
                    </a:p>
                    <a:p>
                      <a:pPr marL="171450" indent="-171450">
                        <a:buFont typeface="Arial" panose="020B0604020202020204" pitchFamily="34" charset="0"/>
                        <a:buChar char="•"/>
                      </a:pPr>
                      <a:r>
                        <a:rPr lang="en-US" sz="1200" dirty="0" smtClean="0">
                          <a:solidFill>
                            <a:schemeClr val="tx1"/>
                          </a:solidFill>
                        </a:rPr>
                        <a:t>Reduce risk</a:t>
                      </a:r>
                    </a:p>
                    <a:p>
                      <a:pPr marL="171450" indent="-171450">
                        <a:buFont typeface="Arial" panose="020B0604020202020204" pitchFamily="34" charset="0"/>
                        <a:buChar char="•"/>
                      </a:pPr>
                      <a:r>
                        <a:rPr lang="en-US" sz="1200" dirty="0" smtClean="0">
                          <a:solidFill>
                            <a:schemeClr val="tx1"/>
                          </a:solidFill>
                        </a:rPr>
                        <a:t>Net Interest Income ($1.63MM)</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solidFill>
                            <a:schemeClr val="tx1"/>
                          </a:solidFill>
                        </a:rPr>
                        <a:t>Product that would be offered to prospects who would not currently qualify for a credit card, changing the mix of asset classes, hence, risk criteria would need to be modify, nevertheless, there is no incremental credit risk associated with this product as the offered limit would be guaranteed and conditioned to a time deposit (CD).  </a:t>
                      </a:r>
                    </a:p>
                    <a:p>
                      <a:pPr marL="171450" indent="-171450">
                        <a:buFont typeface="Arial" panose="020B0604020202020204" pitchFamily="34" charset="0"/>
                        <a:buChar char="•"/>
                      </a:pPr>
                      <a:r>
                        <a:rPr lang="en-US" sz="1200" dirty="0" smtClean="0">
                          <a:solidFill>
                            <a:schemeClr val="tx1"/>
                          </a:solidFill>
                        </a:rPr>
                        <a:t>This product will be presented at the New Products Committee in order to be evaluated by all areas a identify and mitigate any possible risks.</a:t>
                      </a:r>
                    </a:p>
                    <a:p>
                      <a:pPr marL="171450" indent="-171450">
                        <a:buFont typeface="Arial" panose="020B0604020202020204" pitchFamily="34" charset="0"/>
                        <a:buChar char="•"/>
                      </a:pPr>
                      <a:r>
                        <a:rPr lang="en-US" sz="1200" dirty="0" smtClean="0">
                          <a:solidFill>
                            <a:schemeClr val="tx1"/>
                          </a:solidFill>
                        </a:rPr>
                        <a:t>Impact on applications, increasing the number of cases referred to underwriting.  The increase is cases is due to an increased number of applications (volume), but maintaining the same proportion of manual decisions.  Application projections have been shared with Risk in order to guarantee appropriate capacity.</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294690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275162536"/>
              </p:ext>
            </p:extLst>
          </p:nvPr>
        </p:nvGraphicFramePr>
        <p:xfrm>
          <a:off x="394470" y="954872"/>
          <a:ext cx="8369520" cy="5394960"/>
        </p:xfrm>
        <a:graphic>
          <a:graphicData uri="http://schemas.openxmlformats.org/drawingml/2006/table">
            <a:tbl>
              <a:tblPr firstRow="1" bandRow="1"/>
              <a:tblGrid>
                <a:gridCol w="2075248"/>
                <a:gridCol w="3244217"/>
                <a:gridCol w="3050055"/>
              </a:tblGrid>
              <a:tr h="54864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gridSpan="3">
                  <a:txBody>
                    <a:bodyPr/>
                    <a:lstStyle/>
                    <a:p>
                      <a:r>
                        <a:rPr lang="en-US" sz="1200" b="1" dirty="0" smtClean="0"/>
                        <a:t>Priority:</a:t>
                      </a:r>
                      <a:r>
                        <a:rPr lang="en-US" sz="1200" b="1" baseline="0" dirty="0" smtClean="0"/>
                        <a:t> Consumer Lending Growth</a:t>
                      </a:r>
                      <a:endParaRPr lang="en-US" sz="1200" b="1" dirty="0"/>
                    </a:p>
                  </a:txBody>
                  <a:tcPr anchor="ctr">
                    <a:lnL w="12700" cmpd="sng">
                      <a:noFill/>
                    </a:lnL>
                    <a:lnR w="12700" cmpd="sng">
                      <a:noFill/>
                    </a:lnR>
                    <a:lnT w="9525"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s-ES"/>
                    </a:p>
                  </a:txBody>
                  <a:tcPr/>
                </a:tc>
                <a:tc hMerge="1">
                  <a:txBody>
                    <a:bodyPr/>
                    <a:lstStyle/>
                    <a:p>
                      <a:endParaRPr lang="es-ES"/>
                    </a:p>
                  </a:txBody>
                  <a:tcPr/>
                </a:tc>
              </a:tr>
              <a:tr h="36576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indent="0" algn="l" defTabSz="457200" rtl="0" eaLnBrk="1" latinLnBrk="0" hangingPunct="1">
                        <a:buFont typeface="Arial" panose="020B0604020202020204" pitchFamily="34" charset="0"/>
                        <a:buNone/>
                      </a:pPr>
                      <a:r>
                        <a:rPr lang="en-US" sz="1200" kern="1200" dirty="0" smtClean="0">
                          <a:solidFill>
                            <a:schemeClr val="tx1"/>
                          </a:solidFill>
                          <a:latin typeface="Arial"/>
                          <a:ea typeface="+mn-ea"/>
                          <a:cs typeface="+mn-cs"/>
                        </a:rPr>
                        <a:t>JETBLUE CONTRACT</a:t>
                      </a:r>
                    </a:p>
                  </a:txBody>
                  <a:tcPr anchor="ctr">
                    <a:lnL w="12700" cmpd="sng">
                      <a:noFill/>
                    </a:lnL>
                    <a:lnR w="12700" cmpd="sng">
                      <a:noFill/>
                    </a:lnR>
                    <a:lnT w="9525"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Arial"/>
                          <a:ea typeface="+mn-ea"/>
                          <a:cs typeface="+mn-cs"/>
                        </a:rPr>
                        <a:t>30% of accounts (34,400)</a:t>
                      </a:r>
                    </a:p>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Arial"/>
                          <a:ea typeface="+mn-ea"/>
                          <a:cs typeface="+mn-cs"/>
                        </a:rPr>
                        <a:t>70% of outstanding</a:t>
                      </a:r>
                      <a:r>
                        <a:rPr lang="en-US" sz="1200" kern="1200" baseline="0" dirty="0" smtClean="0">
                          <a:solidFill>
                            <a:schemeClr val="tx1"/>
                          </a:solidFill>
                          <a:latin typeface="Arial"/>
                          <a:ea typeface="+mn-ea"/>
                          <a:cs typeface="+mn-cs"/>
                        </a:rPr>
                        <a:t> balance ($92MM)</a:t>
                      </a:r>
                      <a:endParaRPr lang="en-US" sz="1200" kern="1200" dirty="0" smtClean="0">
                        <a:solidFill>
                          <a:schemeClr val="tx1"/>
                        </a:solidFill>
                        <a:latin typeface="Arial"/>
                        <a:ea typeface="+mn-ea"/>
                        <a:cs typeface="+mn-cs"/>
                      </a:endParaRPr>
                    </a:p>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Arial"/>
                          <a:ea typeface="+mn-ea"/>
                          <a:cs typeface="+mn-cs"/>
                        </a:rPr>
                        <a:t>40% spend ($17MM per month)</a:t>
                      </a:r>
                    </a:p>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Arial"/>
                          <a:ea typeface="+mn-ea"/>
                          <a:cs typeface="+mn-cs"/>
                        </a:rPr>
                        <a:t>Annual Interest Margin: $14.5MM</a:t>
                      </a:r>
                    </a:p>
                    <a:p>
                      <a:pPr marL="171450" indent="-171450" algn="l" defTabSz="457200" rtl="0" eaLnBrk="1" latinLnBrk="0" hangingPunct="1">
                        <a:buFont typeface="Arial" panose="020B0604020202020204" pitchFamily="34" charset="0"/>
                        <a:buChar char="•"/>
                      </a:pPr>
                      <a:endParaRPr lang="en-US" sz="1200" kern="1200" dirty="0" smtClean="0">
                        <a:solidFill>
                          <a:schemeClr val="tx1"/>
                        </a:solidFill>
                        <a:latin typeface="Arial"/>
                        <a:ea typeface="+mn-ea"/>
                        <a:cs typeface="+mn-cs"/>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Arial"/>
                          <a:ea typeface="+mn-ea"/>
                          <a:cs typeface="+mn-cs"/>
                        </a:rPr>
                        <a:t>Not being able</a:t>
                      </a:r>
                      <a:r>
                        <a:rPr lang="en-US" sz="1200" kern="1200" baseline="0" dirty="0" smtClean="0">
                          <a:solidFill>
                            <a:schemeClr val="tx1"/>
                          </a:solidFill>
                          <a:latin typeface="Arial"/>
                          <a:ea typeface="+mn-ea"/>
                          <a:cs typeface="+mn-cs"/>
                        </a:rPr>
                        <a:t> to extend the contract, which expires on DEC/31/17, would have a significant impact in the financial results of the portfolio.</a:t>
                      </a:r>
                      <a:endParaRPr lang="en-US" sz="1200" kern="1200" dirty="0" smtClean="0">
                        <a:solidFill>
                          <a:schemeClr val="tx1"/>
                        </a:solidFill>
                        <a:latin typeface="Arial"/>
                        <a:ea typeface="+mn-ea"/>
                        <a:cs typeface="+mn-cs"/>
                      </a:endParaRP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r>
              <a:tr h="365760">
                <a:tc gridSpan="3">
                  <a:txBody>
                    <a:bodyPr/>
                    <a:lstStyle/>
                    <a:p>
                      <a:pPr marL="0" algn="l" defTabSz="457200" rtl="0" eaLnBrk="1" latinLnBrk="0" hangingPunct="1"/>
                      <a:r>
                        <a:rPr lang="en-US" sz="1200" b="1" kern="1200" dirty="0" smtClean="0">
                          <a:solidFill>
                            <a:schemeClr val="tx1"/>
                          </a:solidFill>
                          <a:latin typeface="+mn-lt"/>
                          <a:ea typeface="+mn-ea"/>
                          <a:cs typeface="+mn-cs"/>
                        </a:rPr>
                        <a:t>Priority: Fraud Reduction</a:t>
                      </a:r>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66040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CHIP DEBIT</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Increased </a:t>
                      </a:r>
                      <a:r>
                        <a:rPr lang="en-US" sz="1200" dirty="0" smtClean="0">
                          <a:solidFill>
                            <a:schemeClr val="tx1"/>
                          </a:solidFill>
                        </a:rPr>
                        <a:t>security in card present transactions, reducing fraud (70%).</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solidFill>
                            <a:schemeClr val="tx1"/>
                          </a:solidFill>
                        </a:rPr>
                        <a:t>This initiative</a:t>
                      </a:r>
                      <a:r>
                        <a:rPr lang="en-US" sz="1200" baseline="0" dirty="0" smtClean="0">
                          <a:solidFill>
                            <a:schemeClr val="tx1"/>
                          </a:solidFill>
                        </a:rPr>
                        <a:t> </a:t>
                      </a:r>
                      <a:r>
                        <a:rPr lang="en-US" sz="1200" dirty="0" smtClean="0">
                          <a:solidFill>
                            <a:schemeClr val="tx1"/>
                          </a:solidFill>
                        </a:rPr>
                        <a:t>includes changes and modifications to the way transactions are processed for cards.  This changes could represent an increase in Operational Risk, but the adequate testing plan, validations and controls will be performed and implemented in order to ensure proper functioning.</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66040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3D SECURE</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Reduce fraud in online transactions</a:t>
                      </a:r>
                    </a:p>
                    <a:p>
                      <a:pPr marL="171450" indent="-171450">
                        <a:buFont typeface="Arial" panose="020B0604020202020204" pitchFamily="34" charset="0"/>
                        <a:buChar char="•"/>
                      </a:pPr>
                      <a:r>
                        <a:rPr lang="en-US" sz="1200" dirty="0" smtClean="0"/>
                        <a:t>Increase cardholder engagement</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solidFill>
                            <a:schemeClr val="tx1"/>
                          </a:solidFill>
                        </a:rPr>
                        <a:t>This initiative</a:t>
                      </a:r>
                      <a:r>
                        <a:rPr lang="en-US" sz="1200" baseline="0" dirty="0" smtClean="0">
                          <a:solidFill>
                            <a:schemeClr val="tx1"/>
                          </a:solidFill>
                        </a:rPr>
                        <a:t> </a:t>
                      </a:r>
                      <a:r>
                        <a:rPr lang="en-US" sz="1200" dirty="0" smtClean="0">
                          <a:solidFill>
                            <a:schemeClr val="tx1"/>
                          </a:solidFill>
                        </a:rPr>
                        <a:t>includes changes and modifications to the way transactions are processed for cards.  This changes could represent an increase in Operational Risk, but the adequate testing plan, validations and controls will be performed and implemented in order to ensure proper functioning.</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306014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514240408"/>
              </p:ext>
            </p:extLst>
          </p:nvPr>
        </p:nvGraphicFramePr>
        <p:xfrm>
          <a:off x="394470" y="954872"/>
          <a:ext cx="8369520" cy="2468880"/>
        </p:xfrm>
        <a:graphic>
          <a:graphicData uri="http://schemas.openxmlformats.org/drawingml/2006/table">
            <a:tbl>
              <a:tblPr firstRow="1" bandRow="1"/>
              <a:tblGrid>
                <a:gridCol w="2075248"/>
                <a:gridCol w="3244217"/>
                <a:gridCol w="3050055"/>
              </a:tblGrid>
              <a:tr h="54864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65760">
                <a:tc grid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mn-lt"/>
                          <a:ea typeface="+mn-ea"/>
                          <a:cs typeface="+mn-cs"/>
                        </a:rPr>
                        <a:t>Priority: Innovation</a:t>
                      </a:r>
                    </a:p>
                  </a:txBody>
                  <a:tcPr anchor="ctr">
                    <a:lnL w="12700" cmpd="sng">
                      <a:noFill/>
                    </a:lnL>
                    <a:lnR w="12700" cmpd="sng">
                      <a:noFill/>
                    </a:lnR>
                    <a:lnT w="9525" cap="flat" cmpd="sng" algn="ctr">
                      <a:no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marL="0" indent="-171450" algn="l" defTabSz="457200" rtl="0" eaLnBrk="1" latinLnBrk="0" hangingPunct="1">
                        <a:buFont typeface="Arial" panose="020B0604020202020204" pitchFamily="34" charset="0"/>
                        <a:buChar char="•"/>
                      </a:pPr>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marL="0" indent="-171450" algn="l" defTabSz="457200" rtl="0" eaLnBrk="1" latinLnBrk="0" hangingPunct="1">
                        <a:buFont typeface="Arial" panose="020B0604020202020204" pitchFamily="34" charset="0"/>
                        <a:buChar char="•"/>
                      </a:pPr>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66040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200" dirty="0" smtClean="0"/>
                        <a:t>DIGITAL WALLET</a:t>
                      </a:r>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t>Increase in cardholder engagement, </a:t>
                      </a:r>
                      <a:r>
                        <a:rPr lang="en-US" sz="1200" dirty="0" smtClean="0">
                          <a:solidFill>
                            <a:schemeClr val="tx1"/>
                          </a:solidFill>
                        </a:rPr>
                        <a:t>satisfaction and loyalty</a:t>
                      </a:r>
                    </a:p>
                    <a:p>
                      <a:pPr marL="171450" indent="-171450">
                        <a:buFont typeface="Arial" panose="020B0604020202020204" pitchFamily="34" charset="0"/>
                        <a:buChar char="•"/>
                      </a:pPr>
                      <a:r>
                        <a:rPr lang="en-US" sz="1200" dirty="0" smtClean="0">
                          <a:solidFill>
                            <a:schemeClr val="tx1"/>
                          </a:solidFill>
                        </a:rPr>
                        <a:t>Maintain spending</a:t>
                      </a:r>
                      <a:r>
                        <a:rPr lang="en-US" sz="1200" baseline="0" dirty="0" smtClean="0">
                          <a:solidFill>
                            <a:schemeClr val="tx1"/>
                          </a:solidFill>
                        </a:rPr>
                        <a:t> levels</a:t>
                      </a:r>
                    </a:p>
                    <a:p>
                      <a:pPr marL="171450" indent="-171450">
                        <a:buFont typeface="Arial" panose="020B0604020202020204" pitchFamily="34" charset="0"/>
                        <a:buChar char="•"/>
                      </a:pPr>
                      <a:r>
                        <a:rPr lang="en-US" sz="1200" baseline="0" dirty="0" smtClean="0">
                          <a:solidFill>
                            <a:schemeClr val="tx1"/>
                          </a:solidFill>
                        </a:rPr>
                        <a:t>Commissions ($0.7MM)</a:t>
                      </a:r>
                      <a:endParaRPr lang="en-US" sz="1200" dirty="0" smtClean="0">
                        <a:solidFill>
                          <a:schemeClr val="tx1"/>
                        </a:solidFill>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dirty="0" smtClean="0">
                          <a:solidFill>
                            <a:schemeClr val="tx1"/>
                          </a:solidFill>
                        </a:rPr>
                        <a:t>This initiative</a:t>
                      </a:r>
                      <a:r>
                        <a:rPr lang="en-US" sz="1200" baseline="0" dirty="0" smtClean="0">
                          <a:solidFill>
                            <a:schemeClr val="tx1"/>
                          </a:solidFill>
                        </a:rPr>
                        <a:t> </a:t>
                      </a:r>
                      <a:r>
                        <a:rPr lang="en-US" sz="1200" dirty="0" smtClean="0">
                          <a:solidFill>
                            <a:schemeClr val="tx1"/>
                          </a:solidFill>
                        </a:rPr>
                        <a:t>includes changes and modifications to the way transactions are processed for cards.  This changes could represent an increase in Operational Risk, but the adequate testing plan, validations and controls will be performed and implemented in order to ensure proper functioning.</a:t>
                      </a: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1253679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9019181"/>
              </p:ext>
            </p:extLst>
          </p:nvPr>
        </p:nvGraphicFramePr>
        <p:xfrm>
          <a:off x="394470" y="954872"/>
          <a:ext cx="8366760" cy="5484279"/>
        </p:xfrm>
        <a:graphic>
          <a:graphicData uri="http://schemas.openxmlformats.org/drawingml/2006/table">
            <a:tbl>
              <a:tblPr firstRow="1" bandRow="1"/>
              <a:tblGrid>
                <a:gridCol w="2739255"/>
                <a:gridCol w="5627505"/>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 P19 asset forecasts reliant on relaxation/ changes to risk appetite/ risk policy/ Credit Policy/ VAR limit/ Pricing/ RE policy/ U/W and/or associated risk criteria, risk ratings and tolerance levels? If so to what extent? </a:t>
                      </a:r>
                      <a:endParaRPr lang="en-US" sz="1100" b="0" i="0" u="none" strike="noStrike" dirty="0" smtClean="0">
                        <a:solidFill>
                          <a:srgbClr val="000000"/>
                        </a:solidFill>
                        <a:effectLst/>
                        <a:latin typeface="Calibri"/>
                      </a:endParaRP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The SECURE CARD is a product that</a:t>
                      </a:r>
                      <a:r>
                        <a:rPr lang="en-US" sz="1100" b="0" i="1" u="none" strike="noStrike" baseline="0" dirty="0" smtClean="0">
                          <a:solidFill>
                            <a:srgbClr val="000000"/>
                          </a:solidFill>
                          <a:effectLst/>
                          <a:latin typeface="Calibri"/>
                        </a:rPr>
                        <a:t> would be offered to prospects who would not currently qualify for a credit card, hence, risk criteria would need to be modify, nevertheless, there is no incremental credit risk associated with this product as the offered limit would be guaranteed and conditioned to a time deposit.  This product will be presented at the </a:t>
                      </a:r>
                      <a:r>
                        <a:rPr lang="en-US" sz="1100" b="0" i="1" u="none" strike="noStrike" baseline="0" dirty="0" smtClean="0">
                          <a:solidFill>
                            <a:srgbClr val="000000"/>
                          </a:solidFill>
                          <a:effectLst/>
                          <a:latin typeface="+mn-lt"/>
                        </a:rPr>
                        <a:t>New Products Committee in order to be evaluated by all areas a identify and mitigate any possible risks.</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Does the P19 include new business initiatives, material changes to an existing product, service or business initiatives that may lead to material changes in the risk profile or risk appetite of the portfolios (new </a:t>
                      </a:r>
                      <a:r>
                        <a:rPr lang="en-US" sz="1100" b="0" i="0" u="none" strike="noStrike" dirty="0" smtClean="0">
                          <a:solidFill>
                            <a:srgbClr val="000000"/>
                          </a:solidFill>
                          <a:effectLst/>
                          <a:latin typeface="Calibri"/>
                        </a:rPr>
                        <a:t>agreements/ </a:t>
                      </a:r>
                      <a:r>
                        <a:rPr lang="en-US" sz="1100" b="1" i="0" u="none" strike="noStrike" dirty="0">
                          <a:solidFill>
                            <a:srgbClr val="000000"/>
                          </a:solidFill>
                          <a:effectLst/>
                          <a:latin typeface="Calibri"/>
                        </a:rPr>
                        <a:t>partnerships</a:t>
                      </a:r>
                      <a:r>
                        <a:rPr lang="en-US" sz="1100" b="0" i="0" u="none" strike="noStrike" dirty="0">
                          <a:solidFill>
                            <a:srgbClr val="000000"/>
                          </a:solidFill>
                          <a:effectLst/>
                          <a:latin typeface="Calibri"/>
                        </a:rPr>
                        <a:t>, changes to target customer base, marketing practices, distribution channels, third-party provider arrangements, pricing structure or other financial terms, such as: material shifts in the deal structure mix (Term, LTV, PTI, etc.)) that would materially change the assumed risk of a similar credit portfolio</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dirty="0" smtClean="0">
                          <a:solidFill>
                            <a:srgbClr val="000000"/>
                          </a:solidFill>
                          <a:effectLst/>
                          <a:latin typeface="+mn-lt"/>
                        </a:rPr>
                        <a:t>The ARMANI Card is a co-brande</a:t>
                      </a:r>
                      <a:r>
                        <a:rPr lang="en-US" sz="1100" b="0" i="1" u="none" strike="noStrike" baseline="0" dirty="0" smtClean="0">
                          <a:solidFill>
                            <a:srgbClr val="000000"/>
                          </a:solidFill>
                          <a:effectLst/>
                          <a:latin typeface="+mn-lt"/>
                        </a:rPr>
                        <a:t>d credit card with a retailer.  By definition, this will require a new partnership which will be evaluated by the corresponding areas including Vendor Management and the New Products Committee.</a:t>
                      </a:r>
                    </a:p>
                    <a:p>
                      <a:pPr marL="0" marR="0" indent="0" algn="l" defTabSz="457200" rtl="0" eaLnBrk="1" fontAlgn="ctr" latinLnBrk="0" hangingPunct="1">
                        <a:lnSpc>
                          <a:spcPct val="100000"/>
                        </a:lnSpc>
                        <a:spcBef>
                          <a:spcPts val="0"/>
                        </a:spcBef>
                        <a:spcAft>
                          <a:spcPts val="0"/>
                        </a:spcAft>
                        <a:buClrTx/>
                        <a:buSzTx/>
                        <a:buFontTx/>
                        <a:buNone/>
                        <a:tabLst/>
                        <a:defRPr/>
                      </a:pPr>
                      <a:r>
                        <a:rPr lang="en-US" sz="1100" b="0" i="1" u="none" strike="noStrike" baseline="0" dirty="0" smtClean="0">
                          <a:solidFill>
                            <a:srgbClr val="000000"/>
                          </a:solidFill>
                          <a:effectLst/>
                          <a:latin typeface="+mn-lt"/>
                        </a:rPr>
                        <a:t>Additionally, not being able to extend the JETBLUE contract , which expires on DEC/31/17, would have a significant impact in the financial results of the portfolio.</a:t>
                      </a:r>
                      <a:endParaRPr lang="en-US" sz="1100" b="0" i="0" u="none" strike="noStrike" dirty="0" smtClean="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a:solidFill>
                            <a:srgbClr val="000000"/>
                          </a:solidFill>
                          <a:effectLst/>
                          <a:latin typeface="Calibri"/>
                        </a:rPr>
                        <a:t>Are there any changes planned to the scale and scope of existing products (including portfolio sales) resulting in increased, or different types, of risk exposures </a:t>
                      </a:r>
                      <a:r>
                        <a:rPr lang="en-US" sz="1100" b="0" i="0" u="none" strike="noStrike" dirty="0" smtClean="0">
                          <a:solidFill>
                            <a:srgbClr val="000000"/>
                          </a:solidFill>
                          <a:effectLst/>
                          <a:latin typeface="Calibri"/>
                        </a:rPr>
                        <a:t>?</a:t>
                      </a:r>
                    </a:p>
                    <a:p>
                      <a:pPr algn="l" fontAlgn="ctr"/>
                      <a:endParaRPr lang="en-US" sz="1100" b="0" i="0" u="none" strike="noStrike" dirty="0" smtClean="0">
                        <a:solidFill>
                          <a:srgbClr val="000000"/>
                        </a:solidFill>
                        <a:effectLst/>
                        <a:latin typeface="Calibri"/>
                      </a:endParaRPr>
                    </a:p>
                    <a:p>
                      <a:pPr algn="l" fontAlgn="ctr"/>
                      <a:r>
                        <a:rPr lang="en-US" sz="1100" b="0" i="1" u="none" strike="noStrike" dirty="0" smtClean="0">
                          <a:solidFill>
                            <a:srgbClr val="000000"/>
                          </a:solidFill>
                          <a:effectLst/>
                          <a:latin typeface="Calibri"/>
                        </a:rPr>
                        <a:t>No.</a:t>
                      </a:r>
                      <a:endParaRPr lang="en-US" sz="1100" b="0" i="1"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793679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1705</TotalTime>
  <Words>2389</Words>
  <Application>Microsoft Office PowerPoint</Application>
  <PresentationFormat>On-screen Show (4:3)</PresentationFormat>
  <Paragraphs>205</Paragraphs>
  <Slides>14</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17" baseType="lpstr">
      <vt:lpstr>SHUSA_PPT_Template_Stat Plan v2.3</vt:lpstr>
      <vt:lpstr>1_PowerPointTemplate vTA</vt:lpstr>
      <vt:lpstr>think-cell Slide</vt:lpstr>
      <vt:lpstr>PowerPoint Presentation</vt:lpstr>
      <vt:lpstr>PowerPoint Presentation</vt:lpstr>
      <vt:lpstr>Key elements of Cards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JUAN PABLO JURADO</cp:lastModifiedBy>
  <cp:revision>35</cp:revision>
  <cp:lastPrinted>2016-05-27T10:45:45Z</cp:lastPrinted>
  <dcterms:created xsi:type="dcterms:W3CDTF">2016-05-19T01:43:24Z</dcterms:created>
  <dcterms:modified xsi:type="dcterms:W3CDTF">2016-06-10T20:33:02Z</dcterms:modified>
</cp:coreProperties>
</file>